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21.bin" ContentType="application/vnd.openxmlformats-officedocument.oleObject"/>
  <Override PartName="/ppt/embeddings/oleObject2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media/image10.svg" ContentType="image/svg+xml"/>
  <Override PartName="/ppt/media/image12.svg" ContentType="image/svg+xml"/>
  <Override PartName="/ppt/media/image13.svg" ContentType="image/svg+xml"/>
  <Override PartName="/ppt/media/image14.svg" ContentType="image/svg+xml"/>
  <Override PartName="/ppt/media/image19.svg" ContentType="image/svg+xml"/>
  <Override PartName="/ppt/media/image20.svg" ContentType="image/svg+xml"/>
  <Override PartName="/ppt/media/image25.svg" ContentType="image/svg+xml"/>
  <Override PartName="/ppt/media/image29.svg" ContentType="image/svg+xml"/>
  <Override PartName="/ppt/media/image30.svg" ContentType="image/svg+xml"/>
  <Override PartName="/ppt/media/image31.svg" ContentType="image/svg+xml"/>
  <Override PartName="/ppt/media/image48.svg" ContentType="image/svg+xml"/>
  <Override PartName="/ppt/media/image6.svg" ContentType="image/svg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312" r:id="rId4"/>
    <p:sldMasterId id="2147484277" r:id="rId5"/>
  </p:sldMasterIdLst>
  <p:notesMasterIdLst>
    <p:notesMasterId r:id="rId7"/>
  </p:notesMasterIdLst>
  <p:sldIdLst>
    <p:sldId id="293" r:id="rId6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B88804-1AAC-C510-9058-2EC4CF685725}" name="Alexandro Frisone Gomes" initials="AG" userId="S::alexandrofrisone@yape.com.pe::ac18b3c2-924f-4000-a879-308078442b3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30A0"/>
    <a:srgbClr val="7335A2"/>
    <a:srgbClr val="2AA686"/>
    <a:srgbClr val="FFFFFF"/>
    <a:srgbClr val="BFBFBF"/>
    <a:srgbClr val="D9D9D9"/>
    <a:srgbClr val="FF993B"/>
    <a:srgbClr val="68217A"/>
    <a:srgbClr val="9A71BC"/>
    <a:srgbClr val="7538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75238"/>
  </p:normalViewPr>
  <p:slideViewPr>
    <p:cSldViewPr snapToGrid="0">
      <p:cViewPr varScale="1">
        <p:scale>
          <a:sx n="95" d="100"/>
          <a:sy n="95" d="100"/>
        </p:scale>
        <p:origin x="121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2" Type="http://schemas.microsoft.com/office/2018/10/relationships/authors" Target="authors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582E09-F5B8-46D0-B640-243714D5C667}" type="datetimeFigureOut">
              <a:rPr lang="es-PE" smtClean="0"/>
              <a:t>4/12/23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3280B1-5CE7-489E-AA33-1E0D40D413A6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59019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3280B1-5CE7-489E-AA33-1E0D40D413A6}" type="slidenum">
              <a:rPr lang="es-PE" smtClean="0"/>
              <a:t>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12298706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19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1.pn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20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1.png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1.jpeg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2.jpeg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0.svg"/><Relationship Id="rId5" Type="http://schemas.openxmlformats.org/officeDocument/2006/relationships/image" Target="../media/image24.png"/><Relationship Id="rId6" Type="http://schemas.openxmlformats.org/officeDocument/2006/relationships/image" Target="../media/image25.svg"/><Relationship Id="rId7" Type="http://schemas.openxmlformats.org/officeDocument/2006/relationships/image" Target="../media/image7.png"/><Relationship Id="rId8" Type="http://schemas.openxmlformats.org/officeDocument/2006/relationships/image" Target="../media/image8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9.png"/><Relationship Id="rId5" Type="http://schemas.openxmlformats.org/officeDocument/2006/relationships/image" Target="../media/image10.svg"/><Relationship Id="rId6" Type="http://schemas.openxmlformats.org/officeDocument/2006/relationships/image" Target="../media/image24.png"/><Relationship Id="rId7" Type="http://schemas.openxmlformats.org/officeDocument/2006/relationships/image" Target="../media/image25.svg"/><Relationship Id="rId8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8.png"/><Relationship Id="rId7" Type="http://schemas.openxmlformats.org/officeDocument/2006/relationships/image" Target="../media/image19.svg"/><Relationship Id="rId8" Type="http://schemas.openxmlformats.org/officeDocument/2006/relationships/image" Target="../media/image28.png"/><Relationship Id="rId9" Type="http://schemas.openxmlformats.org/officeDocument/2006/relationships/image" Target="../media/image29.svg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4.svg"/><Relationship Id="rId5" Type="http://schemas.openxmlformats.org/officeDocument/2006/relationships/image" Target="../media/image24.png"/><Relationship Id="rId6" Type="http://schemas.openxmlformats.org/officeDocument/2006/relationships/image" Target="../media/image30.svg"/><Relationship Id="rId7" Type="http://schemas.openxmlformats.org/officeDocument/2006/relationships/image" Target="../media/image7.png"/><Relationship Id="rId8" Type="http://schemas.openxmlformats.org/officeDocument/2006/relationships/image" Target="../media/image13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9.png"/><Relationship Id="rId5" Type="http://schemas.openxmlformats.org/officeDocument/2006/relationships/image" Target="../media/image14.svg"/><Relationship Id="rId6" Type="http://schemas.openxmlformats.org/officeDocument/2006/relationships/image" Target="../media/image24.png"/><Relationship Id="rId7" Type="http://schemas.openxmlformats.org/officeDocument/2006/relationships/image" Target="../media/image30.svg"/><Relationship Id="rId8" Type="http://schemas.openxmlformats.org/officeDocument/2006/relationships/image" Target="../media/image7.png"/><Relationship Id="rId9" Type="http://schemas.openxmlformats.org/officeDocument/2006/relationships/image" Target="../media/image13.svg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8.png"/><Relationship Id="rId7" Type="http://schemas.openxmlformats.org/officeDocument/2006/relationships/image" Target="../media/image20.svg"/><Relationship Id="rId8" Type="http://schemas.openxmlformats.org/officeDocument/2006/relationships/image" Target="../media/image28.png"/><Relationship Id="rId9" Type="http://schemas.openxmlformats.org/officeDocument/2006/relationships/image" Target="../media/image31.svg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2.jpeg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3.jpeg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4.jpeg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tags" Target="../tags/tag24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37.emf"/><Relationship Id="rId9" Type="http://schemas.openxmlformats.org/officeDocument/2006/relationships/image" Target="../media/image38.png"/><Relationship Id="rId10" Type="http://schemas.openxmlformats.org/officeDocument/2006/relationships/image" Target="../media/image39.png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tags" Target="../tags/tag26.xml"/><Relationship Id="rId3" Type="http://schemas.openxmlformats.org/officeDocument/2006/relationships/tags" Target="../tags/tag27.xml"/><Relationship Id="rId4" Type="http://schemas.openxmlformats.org/officeDocument/2006/relationships/tags" Target="../tags/tag28.xml"/><Relationship Id="rId5" Type="http://schemas.openxmlformats.org/officeDocument/2006/relationships/tags" Target="../tags/tag29.xml"/><Relationship Id="rId6" Type="http://schemas.openxmlformats.org/officeDocument/2006/relationships/tags" Target="../tags/tag30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3.bin"/><Relationship Id="rId9" Type="http://schemas.openxmlformats.org/officeDocument/2006/relationships/image" Target="../media/image35.emf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tags" Target="../tags/tag31.xml"/><Relationship Id="rId2" Type="http://schemas.openxmlformats.org/officeDocument/2006/relationships/tags" Target="../tags/tag32.xml"/><Relationship Id="rId3" Type="http://schemas.openxmlformats.org/officeDocument/2006/relationships/tags" Target="../tags/tag33.xml"/><Relationship Id="rId4" Type="http://schemas.openxmlformats.org/officeDocument/2006/relationships/tags" Target="../tags/tag34.xml"/><Relationship Id="rId5" Type="http://schemas.openxmlformats.org/officeDocument/2006/relationships/tags" Target="../tags/tag3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4.bin"/><Relationship Id="rId8" Type="http://schemas.openxmlformats.org/officeDocument/2006/relationships/image" Target="../media/image37.emf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tags" Target="../tags/tag37.xml"/><Relationship Id="rId3" Type="http://schemas.openxmlformats.org/officeDocument/2006/relationships/tags" Target="../tags/tag38.xml"/><Relationship Id="rId4" Type="http://schemas.openxmlformats.org/officeDocument/2006/relationships/tags" Target="../tags/tag39.xml"/><Relationship Id="rId5" Type="http://schemas.openxmlformats.org/officeDocument/2006/relationships/tags" Target="../tags/tag40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5.bin"/><Relationship Id="rId8" Type="http://schemas.openxmlformats.org/officeDocument/2006/relationships/image" Target="../media/image37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tags" Target="../tags/tag42.xml"/><Relationship Id="rId3" Type="http://schemas.openxmlformats.org/officeDocument/2006/relationships/tags" Target="../tags/tag43.xml"/><Relationship Id="rId4" Type="http://schemas.openxmlformats.org/officeDocument/2006/relationships/tags" Target="../tags/tag44.xml"/><Relationship Id="rId5" Type="http://schemas.openxmlformats.org/officeDocument/2006/relationships/tags" Target="../tags/tag4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6.bin"/><Relationship Id="rId8" Type="http://schemas.openxmlformats.org/officeDocument/2006/relationships/image" Target="../media/image37.emf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tags" Target="../tags/tag46.xml"/><Relationship Id="rId2" Type="http://schemas.openxmlformats.org/officeDocument/2006/relationships/tags" Target="../tags/tag47.xml"/><Relationship Id="rId3" Type="http://schemas.openxmlformats.org/officeDocument/2006/relationships/tags" Target="../tags/tag48.xml"/><Relationship Id="rId4" Type="http://schemas.openxmlformats.org/officeDocument/2006/relationships/tags" Target="../tags/tag49.xml"/><Relationship Id="rId5" Type="http://schemas.openxmlformats.org/officeDocument/2006/relationships/tags" Target="../tags/tag50.xml"/><Relationship Id="rId6" Type="http://schemas.openxmlformats.org/officeDocument/2006/relationships/tags" Target="../tags/tag51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7.bin"/><Relationship Id="rId9" Type="http://schemas.openxmlformats.org/officeDocument/2006/relationships/image" Target="../media/image37.emf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tags" Target="../tags/tag52.xml"/><Relationship Id="rId2" Type="http://schemas.openxmlformats.org/officeDocument/2006/relationships/tags" Target="../tags/tag53.xml"/><Relationship Id="rId3" Type="http://schemas.openxmlformats.org/officeDocument/2006/relationships/tags" Target="../tags/tag54.xml"/><Relationship Id="rId4" Type="http://schemas.openxmlformats.org/officeDocument/2006/relationships/tags" Target="../tags/tag55.xml"/><Relationship Id="rId5" Type="http://schemas.openxmlformats.org/officeDocument/2006/relationships/tags" Target="../tags/tag56.xml"/><Relationship Id="rId6" Type="http://schemas.openxmlformats.org/officeDocument/2006/relationships/tags" Target="../tags/tag57.xml"/><Relationship Id="rId7" Type="http://schemas.openxmlformats.org/officeDocument/2006/relationships/tags" Target="../tags/tag58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8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tags" Target="../tags/tag60.xml"/><Relationship Id="rId3" Type="http://schemas.openxmlformats.org/officeDocument/2006/relationships/tags" Target="../tags/tag61.xml"/><Relationship Id="rId4" Type="http://schemas.openxmlformats.org/officeDocument/2006/relationships/tags" Target="../tags/tag62.xml"/><Relationship Id="rId5" Type="http://schemas.openxmlformats.org/officeDocument/2006/relationships/tags" Target="../tags/tag63.xml"/><Relationship Id="rId6" Type="http://schemas.openxmlformats.org/officeDocument/2006/relationships/tags" Target="../tags/tag64.xml"/><Relationship Id="rId7" Type="http://schemas.openxmlformats.org/officeDocument/2006/relationships/tags" Target="../tags/tag65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9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tags" Target="../tags/tag66.xml"/><Relationship Id="rId2" Type="http://schemas.openxmlformats.org/officeDocument/2006/relationships/tags" Target="../tags/tag67.xml"/><Relationship Id="rId3" Type="http://schemas.openxmlformats.org/officeDocument/2006/relationships/tags" Target="../tags/tag68.xml"/><Relationship Id="rId4" Type="http://schemas.openxmlformats.org/officeDocument/2006/relationships/tags" Target="../tags/tag69.xml"/><Relationship Id="rId5" Type="http://schemas.openxmlformats.org/officeDocument/2006/relationships/tags" Target="../tags/tag70.xml"/><Relationship Id="rId6" Type="http://schemas.openxmlformats.org/officeDocument/2006/relationships/tags" Target="../tags/tag71.xml"/><Relationship Id="rId7" Type="http://schemas.openxmlformats.org/officeDocument/2006/relationships/tags" Target="../tags/tag72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0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tags" Target="../tags/tag73.xml"/><Relationship Id="rId2" Type="http://schemas.openxmlformats.org/officeDocument/2006/relationships/tags" Target="../tags/tag74.xml"/><Relationship Id="rId3" Type="http://schemas.openxmlformats.org/officeDocument/2006/relationships/tags" Target="../tags/tag75.xml"/><Relationship Id="rId4" Type="http://schemas.openxmlformats.org/officeDocument/2006/relationships/tags" Target="../tags/tag76.xml"/><Relationship Id="rId5" Type="http://schemas.openxmlformats.org/officeDocument/2006/relationships/tags" Target="../tags/tag77.xml"/><Relationship Id="rId6" Type="http://schemas.openxmlformats.org/officeDocument/2006/relationships/tags" Target="../tags/tag78.xml"/><Relationship Id="rId7" Type="http://schemas.openxmlformats.org/officeDocument/2006/relationships/tags" Target="../tags/tag79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1.bin"/><Relationship Id="rId10" Type="http://schemas.openxmlformats.org/officeDocument/2006/relationships/image" Target="../media/image41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tags" Target="../tags/tag80.xml"/><Relationship Id="rId2" Type="http://schemas.openxmlformats.org/officeDocument/2006/relationships/tags" Target="../tags/tag81.xml"/><Relationship Id="rId3" Type="http://schemas.openxmlformats.org/officeDocument/2006/relationships/tags" Target="../tags/tag82.xml"/><Relationship Id="rId4" Type="http://schemas.openxmlformats.org/officeDocument/2006/relationships/tags" Target="../tags/tag83.xml"/><Relationship Id="rId5" Type="http://schemas.openxmlformats.org/officeDocument/2006/relationships/tags" Target="../tags/tag84.xml"/><Relationship Id="rId6" Type="http://schemas.openxmlformats.org/officeDocument/2006/relationships/tags" Target="../tags/tag85.xml"/><Relationship Id="rId7" Type="http://schemas.openxmlformats.org/officeDocument/2006/relationships/tags" Target="../tags/tag86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2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tags" Target="../tags/tag87.xml"/><Relationship Id="rId2" Type="http://schemas.openxmlformats.org/officeDocument/2006/relationships/tags" Target="../tags/tag88.xml"/><Relationship Id="rId3" Type="http://schemas.openxmlformats.org/officeDocument/2006/relationships/tags" Target="../tags/tag89.xml"/><Relationship Id="rId4" Type="http://schemas.openxmlformats.org/officeDocument/2006/relationships/tags" Target="../tags/tag90.xml"/><Relationship Id="rId5" Type="http://schemas.openxmlformats.org/officeDocument/2006/relationships/tags" Target="../tags/tag91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3.bin"/><Relationship Id="rId8" Type="http://schemas.openxmlformats.org/officeDocument/2006/relationships/image" Target="../media/image37.emf"/><Relationship Id="rId9" Type="http://schemas.openxmlformats.org/officeDocument/2006/relationships/image" Target="../media/image40.png"/><Relationship Id="rId10" Type="http://schemas.openxmlformats.org/officeDocument/2006/relationships/image" Target="../media/image36.png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tags" Target="../tags/tag92.xml"/><Relationship Id="rId2" Type="http://schemas.openxmlformats.org/officeDocument/2006/relationships/tags" Target="../tags/tag93.xml"/><Relationship Id="rId3" Type="http://schemas.openxmlformats.org/officeDocument/2006/relationships/tags" Target="../tags/tag94.xml"/><Relationship Id="rId4" Type="http://schemas.openxmlformats.org/officeDocument/2006/relationships/tags" Target="../tags/tag95.xml"/><Relationship Id="rId5" Type="http://schemas.openxmlformats.org/officeDocument/2006/relationships/slideMaster" Target="../slideMasters/slideMaster2.xml"/><Relationship Id="rId6" Type="http://schemas.openxmlformats.org/officeDocument/2006/relationships/oleObject" Target="../embeddings/oleObject14.bin"/><Relationship Id="rId7" Type="http://schemas.openxmlformats.org/officeDocument/2006/relationships/image" Target="../media/image37.emf"/><Relationship Id="rId8" Type="http://schemas.openxmlformats.org/officeDocument/2006/relationships/image" Target="../media/image40.png"/><Relationship Id="rId9" Type="http://schemas.openxmlformats.org/officeDocument/2006/relationships/image" Target="../media/image36.png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tags" Target="../tags/tag96.xml"/><Relationship Id="rId2" Type="http://schemas.openxmlformats.org/officeDocument/2006/relationships/tags" Target="../tags/tag97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37.emf"/><Relationship Id="rId6" Type="http://schemas.openxmlformats.org/officeDocument/2006/relationships/image" Target="../media/image42.pn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9.png"/><Relationship Id="rId7" Type="http://schemas.openxmlformats.org/officeDocument/2006/relationships/image" Target="../media/image10.svg"/><Relationship Id="rId8" Type="http://schemas.openxmlformats.org/officeDocument/2006/relationships/image" Target="../media/image11.png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tags" Target="../tags/tag98.xml"/><Relationship Id="rId2" Type="http://schemas.openxmlformats.org/officeDocument/2006/relationships/tags" Target="../tags/tag99.xml"/><Relationship Id="rId3" Type="http://schemas.openxmlformats.org/officeDocument/2006/relationships/tags" Target="../tags/tag100.xml"/><Relationship Id="rId4" Type="http://schemas.openxmlformats.org/officeDocument/2006/relationships/tags" Target="../tags/tag101.xml"/><Relationship Id="rId5" Type="http://schemas.openxmlformats.org/officeDocument/2006/relationships/tags" Target="../tags/tag102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6.bin"/><Relationship Id="rId8" Type="http://schemas.openxmlformats.org/officeDocument/2006/relationships/image" Target="../media/image37.emf"/><Relationship Id="rId9" Type="http://schemas.openxmlformats.org/officeDocument/2006/relationships/image" Target="../media/image43.png"/><Relationship Id="rId10" Type="http://schemas.openxmlformats.org/officeDocument/2006/relationships/image" Target="../media/image44.png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tags" Target="../tags/tag103.xml"/><Relationship Id="rId2" Type="http://schemas.openxmlformats.org/officeDocument/2006/relationships/tags" Target="../tags/tag104.xml"/><Relationship Id="rId3" Type="http://schemas.openxmlformats.org/officeDocument/2006/relationships/tags" Target="../tags/tag105.xml"/><Relationship Id="rId4" Type="http://schemas.openxmlformats.org/officeDocument/2006/relationships/tags" Target="../tags/tag106.xml"/><Relationship Id="rId5" Type="http://schemas.openxmlformats.org/officeDocument/2006/relationships/slideMaster" Target="../slideMasters/slideMaster2.xml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tags" Target="../tags/tag107.xml"/><Relationship Id="rId2" Type="http://schemas.openxmlformats.org/officeDocument/2006/relationships/tags" Target="../tags/tag10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5.emf"/><Relationship Id="rId6" Type="http://schemas.openxmlformats.org/officeDocument/2006/relationships/image" Target="../media/image46.png"/><Relationship Id="rId7" Type="http://schemas.openxmlformats.org/officeDocument/2006/relationships/image" Target="../media/image38.png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tags" Target="../tags/tag109.xml"/><Relationship Id="rId2" Type="http://schemas.openxmlformats.org/officeDocument/2006/relationships/tags" Target="../tags/tag110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tags" Target="../tags/tag111.xml"/><Relationship Id="rId2" Type="http://schemas.openxmlformats.org/officeDocument/2006/relationships/tags" Target="../tags/tag112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tags" Target="../tags/tag113.xml"/><Relationship Id="rId2" Type="http://schemas.openxmlformats.org/officeDocument/2006/relationships/tags" Target="../tags/tag114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tags" Target="../tags/tag115.xml"/><Relationship Id="rId2" Type="http://schemas.openxmlformats.org/officeDocument/2006/relationships/tags" Target="../tags/tag116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1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tags" Target="../tags/tag117.xml"/><Relationship Id="rId2" Type="http://schemas.openxmlformats.org/officeDocument/2006/relationships/tags" Target="../tags/tag11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9.png"/><Relationship Id="rId7" Type="http://schemas.openxmlformats.org/officeDocument/2006/relationships/image" Target="../media/image14.svg"/><Relationship Id="rId8" Type="http://schemas.openxmlformats.org/officeDocument/2006/relationships/image" Target="../media/image11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6.jpe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7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EFC954A3-7CC3-BA9B-9075-E189D97473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5423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11"/>
          <a:stretch/>
        </p:blipFill>
        <p:spPr>
          <a:xfrm>
            <a:off x="4183380" y="0"/>
            <a:ext cx="8008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042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88" t="34333" r="-1"/>
          <a:stretch/>
        </p:blipFill>
        <p:spPr>
          <a:xfrm>
            <a:off x="5875020" y="2354580"/>
            <a:ext cx="6316387" cy="4503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9311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13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3851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Forma&#10;&#10;Descripción generada automáticamente">
            <a:extLst>
              <a:ext uri="{FF2B5EF4-FFF2-40B4-BE49-F238E27FC236}">
                <a16:creationId xmlns:a16="http://schemas.microsoft.com/office/drawing/2014/main" id="{B517ACD7-B861-9792-DD79-C81C8E6C1B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8885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Forma, Rectángulo&#10;&#10;Descripción generada automáticamente">
            <a:extLst>
              <a:ext uri="{FF2B5EF4-FFF2-40B4-BE49-F238E27FC236}">
                <a16:creationId xmlns:a16="http://schemas.microsoft.com/office/drawing/2014/main" id="{745B2585-0CB9-0444-8DEB-D87F5D5760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889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924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148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8925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00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Diagrama&#10;&#10;Descripción generada automáticamente">
            <a:extLst>
              <a:ext uri="{FF2B5EF4-FFF2-40B4-BE49-F238E27FC236}">
                <a16:creationId xmlns:a16="http://schemas.microsoft.com/office/drawing/2014/main" id="{36BDE042-0A2F-CEF4-8E1C-E04D7332EC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8852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803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7383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baja">
            <a:extLst>
              <a:ext uri="{FF2B5EF4-FFF2-40B4-BE49-F238E27FC236}">
                <a16:creationId xmlns:a16="http://schemas.microsoft.com/office/drawing/2014/main" id="{8434EECC-2E09-7802-314E-B86A2CB0A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6745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Patrón de fondo&#10;&#10;Descripción generada automáticamente">
            <a:extLst>
              <a:ext uri="{FF2B5EF4-FFF2-40B4-BE49-F238E27FC236}">
                <a16:creationId xmlns:a16="http://schemas.microsoft.com/office/drawing/2014/main" id="{B6C1CD04-064F-0098-8CA0-8DD3CCA51A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0884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F6CF62E0-2ED3-07AA-7058-29F600A04B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6120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2E914A-420D-B350-6468-D10157887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9B3410-55A6-29B9-C5A3-3F3BE764B3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B696A37-239B-7250-12A5-D26D7BBCB2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C46F637-FE5B-76D8-BA1D-8C34DF4C4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0F79EF0-39E4-B60F-3E0E-0F0B1A0A6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889296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137508-357F-B601-E18E-D6322D53A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FD73118-12B7-2B8D-69DD-C359D40424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C09CCAA-2BCF-3719-5BE4-AC7AE1126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4D65319-9B4C-1BBE-74A9-53F484DAF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C0B0462-41E8-A4C2-9D29-4148DBA21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75775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8F8AAA-DFE9-C3BC-1E87-A416053BE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C524978-B9AA-2A17-023C-B4A65B397B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3922496-688E-378A-DF44-35D466B7AA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9F2F53E-BE6A-5D44-A0F9-B8C70E39F6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40D91DC-BBBF-A9DE-9047-9CF8D7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A29A0B2-F638-55E3-3F41-32A363E6FE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822134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A354AB-8772-4188-123A-0300939D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707DBAF-C291-93BF-0C5F-AA77F4381A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8E585E0-E9C3-0D1D-868C-CECC9C33A9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31D01B8-00CA-9691-C0B6-6F6AE75C0F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52B7889-420C-4DCD-8D6A-69AB64713AE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F1DCF3E6-E63A-27C1-3C78-F4B6196DA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40ED48F-ED86-131B-77FB-EE20A3EDA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1654A228-B36E-42BC-C720-21A1A7559B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36381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4E38C4-9FD1-2EA2-238B-221F890C5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6E8376E-F1E0-65BB-BC60-9B0662734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6D46E73-8876-6FB1-583E-7AA20920C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8EDDB2-CDA9-E15B-854F-534C21135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7990957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Gráfico&#10;&#10;Descripción generada automáticamente con confianza baja">
            <a:extLst>
              <a:ext uri="{FF2B5EF4-FFF2-40B4-BE49-F238E27FC236}">
                <a16:creationId xmlns:a16="http://schemas.microsoft.com/office/drawing/2014/main" id="{CDADAB0A-10FA-46CA-C5E6-88B474833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001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90FE056-55CD-E957-ECBD-ABE877D33E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9C4C588-9AD0-0552-3F63-6286FF027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683F574-CA06-8D6B-F6A9-95D4C54AF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37020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2CB64B-B6C3-82A5-EEB1-5BA192797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B30E03F-4ED0-7601-7F8D-DE01E04316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AC6C44C-D7A9-B913-CA4E-B961252DD1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B0E2C04-2AB6-0421-ED0E-EA576656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3836DDF-DB81-7F37-D564-8DD24FBF18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A50E714-DDB1-E108-1FBC-033E83B30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50673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6952204-6D25-A74E-32B8-DDC2BC2614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47076AC3-050F-2CEF-D418-80C894D0F9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C65D262-43C5-7407-2571-6E8C7F2E47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9C75C69-DFD8-2108-F13D-56FDB8EA5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08517E7-0DE2-468D-0DDE-5532FE105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542489F-F679-7C04-116E-4A4636F46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215938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0F58DF-98F7-3F4B-CC2E-AB4AD13FD6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5A05C2D-B022-8D10-C568-2612CBD1F9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A4D2374-0AC9-2E36-D5B6-11928E1ED2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69955CF-94A9-C6E1-5DB8-18635F8C4A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C7C0678-76EB-BA67-099B-B17250250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486786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5609D50-F45A-AD25-6CAF-1C17677F5F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B2D52E83-E4E3-CCA4-CE2E-599100AE83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7C18ED5-5283-B787-A2F8-2D450E817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D8899DD-4621-F4F2-4D35-EAE766F15B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DD651CB-C455-B0D4-D6E2-9357191757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9853226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3270" cy="6858000"/>
          </a:xfrm>
          <a:custGeom>
            <a:avLst/>
            <a:gdLst/>
            <a:ahLst/>
            <a:cxnLst/>
            <a:rect l="l" t="t" r="r" b="b"/>
            <a:pathLst>
              <a:path w="12193270" h="6858000">
                <a:moveTo>
                  <a:pt x="12193193" y="0"/>
                </a:moveTo>
                <a:lnTo>
                  <a:pt x="0" y="0"/>
                </a:lnTo>
                <a:lnTo>
                  <a:pt x="0" y="6858000"/>
                </a:lnTo>
                <a:lnTo>
                  <a:pt x="12193193" y="6858000"/>
                </a:lnTo>
                <a:lnTo>
                  <a:pt x="12193193" y="0"/>
                </a:lnTo>
                <a:close/>
              </a:path>
            </a:pathLst>
          </a:custGeom>
          <a:solidFill>
            <a:srgbClr val="48C3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450" b="0" i="0">
                <a:solidFill>
                  <a:schemeClr val="bg1"/>
                </a:solidFill>
                <a:latin typeface="Passion One"/>
                <a:cs typeface="Passion On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4/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67220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7452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9" name="Imagen 6" descr="Imagen 6">
            <a:extLst>
              <a:ext uri="{FF2B5EF4-FFF2-40B4-BE49-F238E27FC236}">
                <a16:creationId xmlns:a16="http://schemas.microsoft.com/office/drawing/2014/main" id="{72E55FDB-C22A-4514-83DF-559C48822FC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46"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Gráfico 24" descr="Gráfico 24">
            <a:extLst>
              <a:ext uri="{FF2B5EF4-FFF2-40B4-BE49-F238E27FC236}">
                <a16:creationId xmlns:a16="http://schemas.microsoft.com/office/drawing/2014/main" id="{D0BBD87A-5256-4C48-A0F6-0D11295049E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562" y="1171903"/>
            <a:ext cx="2742361" cy="350054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3710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811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98592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b="0" baseline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Add</a:t>
            </a:r>
            <a:r>
              <a:rPr lang="es-PE"/>
              <a:t> </a:t>
            </a:r>
            <a:r>
              <a:rPr lang="es-PE" err="1"/>
              <a:t>tracker</a:t>
            </a:r>
            <a:endParaRPr lang="es-PE"/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63DD8A00-F696-4D80-A03A-EA7F8001D71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92296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92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878F387C-B89B-4B10-A6D5-AE5EB7436E4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E01EC37-8CB5-4EDB-BBB4-747EA579020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1790742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475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EF3DA9C-D567-4CFC-B7CE-3052B36703D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83C9B41-E746-4130-ABAE-776E059C5DF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587311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media">
            <a:extLst>
              <a:ext uri="{FF2B5EF4-FFF2-40B4-BE49-F238E27FC236}">
                <a16:creationId xmlns:a16="http://schemas.microsoft.com/office/drawing/2014/main" id="{AA1F5129-1544-EC8D-28F0-56876764F2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071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5421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80468"/>
            <a:ext cx="11082528" cy="67710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73283A5-8601-403F-B61F-15807BD0A39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485766DD-B3FA-4814-B219-9BFE90BF40D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5208532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54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093963B-0419-45AD-B855-6E9A4E68EB8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92BB3CE-5B32-4A96-9267-0827713F894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1291345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012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8CCBC1B-97F6-44D9-944D-A2B8521DB7A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617F92-6EBE-48D2-8AE5-2D8D0E0119F2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6EEC98A-F629-4D3E-84CA-74A4976D725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C9DE14CF-BD5E-4A40-AB57-17E9622EC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70966ED8-1044-484E-AB49-A3DE12ADC3D4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735575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673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22AB90A-B89A-4751-9F4B-E0A32B83C56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6537B7-512B-4D56-BCB1-F72492C9F161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7E0CDB7-E928-41DE-AC97-C0EACEADD69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0C533CA8-E037-4BB2-860B-77DA7DB63BA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D0031152-E7F3-464D-B522-8B3A9064549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644815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7999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5065776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68424AE-0B46-45C8-879D-34FA6707A80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908E22-8FEB-469A-89F6-0C0A52EF318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0F2D97E-05B7-445B-B956-89A3C2CB093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7D619FA0-FB29-43B4-9C5D-FB849B78B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E7B87CBC-7039-4A2B-BF5C-B5A69E8F6BB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95505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933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75316"/>
            <a:ext cx="6967728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A85CD1B-99A9-4B6A-983F-FDBA339CE3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215711-86A7-4E5E-8F26-E7B868373145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6CBC312-40D8-47CE-8708-5D579CD78E5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28619CB8-1BBC-479A-BB61-53FE39FB27E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2" name="Gráfico 24" descr="Gráfico 24">
            <a:extLst>
              <a:ext uri="{FF2B5EF4-FFF2-40B4-BE49-F238E27FC236}">
                <a16:creationId xmlns:a16="http://schemas.microsoft.com/office/drawing/2014/main" id="{2FE6ED9A-C80F-4127-83CB-86795FC0930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257339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19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7918704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4029785-BEC9-4B39-82BE-2333AA91501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DE8986-D94A-46E6-B8CB-12E1706F4936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9E4E496-EFC5-4A8C-B334-A99AB2A7C66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58EBA7E3-BC89-4A00-84D7-0FDE59768EA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52CD2E59-ABFD-4889-BB63-A3ECC46EC93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071108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0073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960037"/>
            <a:ext cx="10133636" cy="384721"/>
          </a:xfrm>
          <a:prstGeom prst="rect">
            <a:avLst/>
          </a:prstGeom>
        </p:spPr>
        <p:txBody>
          <a:bodyPr vert="horz">
            <a:no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22549A-C13E-4BAD-9F9F-C41E66C8A30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3AE7A4E-34D4-4040-BC0A-34433DA797B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A3CC2A86-8F05-4735-BFFA-BF3EF3FFDF6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99577D85-0EB5-4A7B-BAB4-AED8A13FB22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9" name="Gráfico 24" descr="Gráfico 24">
            <a:extLst>
              <a:ext uri="{FF2B5EF4-FFF2-40B4-BE49-F238E27FC236}">
                <a16:creationId xmlns:a16="http://schemas.microsoft.com/office/drawing/2014/main" id="{952089E4-7B97-41CE-A5AB-9AAF65BF674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20135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3949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43E68D-4EF7-4B88-A868-2F96EB50B514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7A4584-A8A7-4B7C-BDDE-08D7235FFA9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677FE722-5150-4064-95B2-56F6A5F4FC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4C6B832-2050-40BE-8D3A-78070AFAA51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5" name="Gráfico 24" descr="Gráfico 24">
            <a:extLst>
              <a:ext uri="{FF2B5EF4-FFF2-40B4-BE49-F238E27FC236}">
                <a16:creationId xmlns:a16="http://schemas.microsoft.com/office/drawing/2014/main" id="{D18A77D8-8154-47A7-938E-64EAC9BAAEE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321227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71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8E1CD775-91B0-42D6-A4C9-129AE63C1BA9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2" name="Gráfico 24" descr="Gráfico 24">
            <a:extLst>
              <a:ext uri="{FF2B5EF4-FFF2-40B4-BE49-F238E27FC236}">
                <a16:creationId xmlns:a16="http://schemas.microsoft.com/office/drawing/2014/main" id="{536FE9BC-D90D-4884-97E4-5E18414D98D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3200" y="2162884"/>
            <a:ext cx="1625600" cy="207503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04923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3562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999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9A63A0-0EA4-4BBA-B079-60607BDB09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Documenttype">
            <a:extLst>
              <a:ext uri="{FF2B5EF4-FFF2-40B4-BE49-F238E27FC236}">
                <a16:creationId xmlns:a16="http://schemas.microsoft.com/office/drawing/2014/main" id="{BABC4DE4-7DBD-41CC-9BBD-000CE72480F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91354340-00A3-4445-BF3D-8A199A30807B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7F47D8E6-3D97-4A84-84CE-688EE297B8E5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10" name="Imagen 6" descr="Imagen 6">
            <a:extLst>
              <a:ext uri="{FF2B5EF4-FFF2-40B4-BE49-F238E27FC236}">
                <a16:creationId xmlns:a16="http://schemas.microsoft.com/office/drawing/2014/main" id="{B56A5EC1-0AD7-4155-8CC8-12D61E0B2E0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Imagen 8" descr="Imagen 8">
            <a:extLst>
              <a:ext uri="{FF2B5EF4-FFF2-40B4-BE49-F238E27FC236}">
                <a16:creationId xmlns:a16="http://schemas.microsoft.com/office/drawing/2014/main" id="{404E0430-63EA-4E1B-91D8-AE271455AA5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990600"/>
            <a:ext cx="3166490" cy="381571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323842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328350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4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6360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6" name="Imagen 8" descr="logo yape-02.png">
            <a:extLst>
              <a:ext uri="{FF2B5EF4-FFF2-40B4-BE49-F238E27FC236}">
                <a16:creationId xmlns:a16="http://schemas.microsoft.com/office/drawing/2014/main" id="{4358D116-390F-4960-BE30-726CFAF7E39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990601"/>
            <a:ext cx="3166489" cy="3815713"/>
          </a:xfrm>
          <a:prstGeom prst="rect">
            <a:avLst/>
          </a:prstGeom>
        </p:spPr>
      </p:pic>
      <p:pic>
        <p:nvPicPr>
          <p:cNvPr id="7" name="Imagen 6" descr="cosa 1-15.png">
            <a:extLst>
              <a:ext uri="{FF2B5EF4-FFF2-40B4-BE49-F238E27FC236}">
                <a16:creationId xmlns:a16="http://schemas.microsoft.com/office/drawing/2014/main" id="{D808A2BD-3546-48AF-9D2E-A7677F65AF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7"/>
          <a:stretch/>
        </p:blipFill>
        <p:spPr>
          <a:xfrm>
            <a:off x="-228600" y="-304800"/>
            <a:ext cx="3790159" cy="3251619"/>
          </a:xfrm>
          <a:prstGeom prst="rect">
            <a:avLst/>
          </a:prstGeom>
        </p:spPr>
      </p:pic>
      <p:sp>
        <p:nvSpPr>
          <p:cNvPr id="9" name="Título 7">
            <a:extLst>
              <a:ext uri="{FF2B5EF4-FFF2-40B4-BE49-F238E27FC236}">
                <a16:creationId xmlns:a16="http://schemas.microsoft.com/office/drawing/2014/main" id="{E33F6325-2DB6-4E5B-9C21-393D5721F7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4690" y="4648201"/>
            <a:ext cx="7196711" cy="623191"/>
          </a:xfrm>
          <a:prstGeom prst="rect">
            <a:avLst/>
          </a:prstGeom>
          <a:noFill/>
        </p:spPr>
        <p:txBody>
          <a:bodyPr wrap="square" lIns="0" tIns="34262" rIns="0" bIns="34262" rtlCol="0">
            <a:spAutoFit/>
          </a:bodyPr>
          <a:lstStyle>
            <a:lvl1pPr algn="r">
              <a:defRPr lang="es-PE" sz="3600" b="1" i="0" dirty="0">
                <a:solidFill>
                  <a:schemeClr val="bg1"/>
                </a:solidFill>
                <a:latin typeface="Flexo" pitchFamily="50" charset="0"/>
                <a:ea typeface="Flexo" pitchFamily="50" charset="0"/>
                <a:cs typeface="Arial"/>
              </a:defRPr>
            </a:lvl1pPr>
          </a:lstStyle>
          <a:p>
            <a:pPr marL="0" lvl="0" defTabSz="685220" fontAlgn="auto">
              <a:spcBef>
                <a:spcPts val="0"/>
              </a:spcBef>
              <a:spcAft>
                <a:spcPts val="0"/>
              </a:spcAft>
            </a:pPr>
            <a:r>
              <a:rPr lang="es-ES"/>
              <a:t>Haga clic para modificar el título</a:t>
            </a:r>
            <a:endParaRPr lang="es-PE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5E0D85F0-435F-461B-A7C5-4645D16852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3245" y="5333623"/>
            <a:ext cx="4808156" cy="287759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pPr lvl="0"/>
            <a:r>
              <a:rPr lang="es-ES"/>
              <a:t>Fecha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3620558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9" name="Marcador de número de diapositiva 23">
            <a:extLst>
              <a:ext uri="{FF2B5EF4-FFF2-40B4-BE49-F238E27FC236}">
                <a16:creationId xmlns:a16="http://schemas.microsoft.com/office/drawing/2014/main" id="{8F578FC8-679B-4385-8374-10FCEEA607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  <p:sp>
        <p:nvSpPr>
          <p:cNvPr id="11" name="Título 12">
            <a:extLst>
              <a:ext uri="{FF2B5EF4-FFF2-40B4-BE49-F238E27FC236}">
                <a16:creationId xmlns:a16="http://schemas.microsoft.com/office/drawing/2014/main" id="{087A19E5-A0E7-4831-AA95-A15B31F8C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38269"/>
            <a:ext cx="11026411" cy="62543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4" name="Marcador de pie de página 9">
            <a:extLst>
              <a:ext uri="{FF2B5EF4-FFF2-40B4-BE49-F238E27FC236}">
                <a16:creationId xmlns:a16="http://schemas.microsoft.com/office/drawing/2014/main" id="{36073E68-7CC5-4E98-96CB-FDE4B259E1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641701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1" y="-19173"/>
            <a:ext cx="3695699" cy="6877173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Flexo" pitchFamily="50" charset="0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1" name="Marcador de número de diapositiva 23">
            <a:extLst>
              <a:ext uri="{FF2B5EF4-FFF2-40B4-BE49-F238E27FC236}">
                <a16:creationId xmlns:a16="http://schemas.microsoft.com/office/drawing/2014/main" id="{DCAF881B-3832-482A-B5F0-83837E8D0B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0135619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2" y="-19173"/>
            <a:ext cx="4495799" cy="6877173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+mj-lt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AB51DA71-6705-4236-BDDA-909AE2A131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799630749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72AA9D98-2D7D-4A07-ABAE-BAE059616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534911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5400" b="0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402DF27-CE66-4C1B-8ADD-C05D6759483F}"/>
              </a:ext>
            </a:extLst>
          </p:cNvPr>
          <p:cNvSpPr>
            <a:spLocks noGrp="1"/>
          </p:cNvSpPr>
          <p:nvPr>
            <p:ph type="title"/>
          </p:nvPr>
        </p:nvSpPr>
        <p:spPr bwMode="blackWhite">
          <a:xfrm>
            <a:off x="609600" y="3826800"/>
            <a:ext cx="10957200" cy="20412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Flexo" pitchFamily="50" charset="0"/>
                <a:sym typeface="Trebuchet MS" panose="020B0603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noProof="0"/>
          </a:p>
        </p:txBody>
      </p:sp>
      <p:cxnSp>
        <p:nvCxnSpPr>
          <p:cNvPr id="8" name="Straight Connector 147">
            <a:extLst>
              <a:ext uri="{FF2B5EF4-FFF2-40B4-BE49-F238E27FC236}">
                <a16:creationId xmlns:a16="http://schemas.microsoft.com/office/drawing/2014/main" id="{68BD3A54-E593-4EFD-A56F-0C9FB51D9CDB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600" y="3680016"/>
            <a:ext cx="11585603" cy="0"/>
          </a:xfrm>
          <a:prstGeom prst="line">
            <a:avLst/>
          </a:prstGeom>
          <a:ln w="19050" cmpd="sng">
            <a:solidFill>
              <a:srgbClr val="00C3A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25559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4027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Forma&#10;&#10;Descripción generada automáticamente con confianza baja">
            <a:extLst>
              <a:ext uri="{FF2B5EF4-FFF2-40B4-BE49-F238E27FC236}">
                <a16:creationId xmlns:a16="http://schemas.microsoft.com/office/drawing/2014/main" id="{9E1A9B8B-CB8D-2F05-F3B6-9F9A8C20B3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8658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Interfaz de usuario gráfica&#10;&#10;Descripción generada automáticamente">
            <a:extLst>
              <a:ext uri="{FF2B5EF4-FFF2-40B4-BE49-F238E27FC236}">
                <a16:creationId xmlns:a16="http://schemas.microsoft.com/office/drawing/2014/main" id="{DB26CF8B-7CAF-DAE0-AB18-9E4B58A59E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032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5E39B4CC-93AC-4487-C77F-B51FCF7297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96874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theme" Target="../theme/theme1.xml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58.xml"/><Relationship Id="rId24" Type="http://schemas.openxmlformats.org/officeDocument/2006/relationships/theme" Target="../theme/theme2.xml"/><Relationship Id="rId25" Type="http://schemas.openxmlformats.org/officeDocument/2006/relationships/tags" Target="../tags/tag1.xml"/><Relationship Id="rId26" Type="http://schemas.openxmlformats.org/officeDocument/2006/relationships/tags" Target="../tags/tag2.xml"/><Relationship Id="rId27" Type="http://schemas.openxmlformats.org/officeDocument/2006/relationships/tags" Target="../tags/tag3.xml"/><Relationship Id="rId28" Type="http://schemas.openxmlformats.org/officeDocument/2006/relationships/tags" Target="../tags/tag4.xml"/><Relationship Id="rId29" Type="http://schemas.openxmlformats.org/officeDocument/2006/relationships/tags" Target="../tags/tag5.xml"/><Relationship Id="rId30" Type="http://schemas.openxmlformats.org/officeDocument/2006/relationships/tags" Target="../tags/tag6.xml"/><Relationship Id="rId31" Type="http://schemas.openxmlformats.org/officeDocument/2006/relationships/tags" Target="../tags/tag7.xml"/><Relationship Id="rId32" Type="http://schemas.openxmlformats.org/officeDocument/2006/relationships/tags" Target="../tags/tag8.xml"/><Relationship Id="rId33" Type="http://schemas.openxmlformats.org/officeDocument/2006/relationships/tags" Target="../tags/tag9.xml"/><Relationship Id="rId34" Type="http://schemas.openxmlformats.org/officeDocument/2006/relationships/tags" Target="../tags/tag10.xml"/><Relationship Id="rId35" Type="http://schemas.openxmlformats.org/officeDocument/2006/relationships/tags" Target="../tags/tag11.xml"/><Relationship Id="rId36" Type="http://schemas.openxmlformats.org/officeDocument/2006/relationships/tags" Target="../tags/tag12.xml"/><Relationship Id="rId37" Type="http://schemas.openxmlformats.org/officeDocument/2006/relationships/tags" Target="../tags/tag13.xml"/><Relationship Id="rId38" Type="http://schemas.openxmlformats.org/officeDocument/2006/relationships/tags" Target="../tags/tag14.xml"/><Relationship Id="rId39" Type="http://schemas.openxmlformats.org/officeDocument/2006/relationships/tags" Target="../tags/tag15.xml"/><Relationship Id="rId40" Type="http://schemas.openxmlformats.org/officeDocument/2006/relationships/tags" Target="../tags/tag16.xml"/><Relationship Id="rId41" Type="http://schemas.openxmlformats.org/officeDocument/2006/relationships/tags" Target="../tags/tag17.xml"/><Relationship Id="rId42" Type="http://schemas.openxmlformats.org/officeDocument/2006/relationships/tags" Target="../tags/tag18.xml"/><Relationship Id="rId43" Type="http://schemas.openxmlformats.org/officeDocument/2006/relationships/tags" Target="../tags/tag19.xml"/><Relationship Id="rId44" Type="http://schemas.openxmlformats.org/officeDocument/2006/relationships/oleObject" Target="../embeddings/oleObject1.bin"/><Relationship Id="rId45" Type="http://schemas.openxmlformats.org/officeDocument/2006/relationships/image" Target="../media/image35.emf"/><Relationship Id="rId46" Type="http://schemas.openxmlformats.org/officeDocument/2006/relationships/image" Target="../media/image3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C36761BB-9BE4-7CA3-73EA-8C317F7EF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9526D0F-9A59-A431-8338-05397A01F7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373CC7-31E5-80F6-FF63-86BCA446BA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FAD2D0C-5FB9-0EAA-6AC7-387BF6A5FA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5E48EE8-54D0-A67E-EDBD-B671749EF0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70C23C3-8C6F-9C67-9681-8212BAE0138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2081730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3" r:id="rId1"/>
    <p:sldLayoutId id="2147485314" r:id="rId2"/>
    <p:sldLayoutId id="2147485315" r:id="rId3"/>
    <p:sldLayoutId id="2147485316" r:id="rId4"/>
    <p:sldLayoutId id="2147484566" r:id="rId5"/>
    <p:sldLayoutId id="2147485317" r:id="rId6"/>
    <p:sldLayoutId id="2147485318" r:id="rId7"/>
    <p:sldLayoutId id="2147485319" r:id="rId8"/>
    <p:sldLayoutId id="2147485311" r:id="rId9"/>
    <p:sldLayoutId id="2147483669" r:id="rId10"/>
    <p:sldLayoutId id="2147483670" r:id="rId11"/>
    <p:sldLayoutId id="2147483671" r:id="rId12"/>
    <p:sldLayoutId id="2147485320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5321" r:id="rId19"/>
    <p:sldLayoutId id="2147485322" r:id="rId20"/>
    <p:sldLayoutId id="2147485323" r:id="rId21"/>
    <p:sldLayoutId id="2147483677" r:id="rId22"/>
    <p:sldLayoutId id="2147483678" r:id="rId23"/>
    <p:sldLayoutId id="2147483679" r:id="rId24"/>
    <p:sldLayoutId id="2147483680" r:id="rId25"/>
    <p:sldLayoutId id="2147483681" r:id="rId26"/>
    <p:sldLayoutId id="2147483682" r:id="rId27"/>
    <p:sldLayoutId id="2147483683" r:id="rId28"/>
    <p:sldLayoutId id="2147483684" r:id="rId29"/>
    <p:sldLayoutId id="2147483685" r:id="rId30"/>
    <p:sldLayoutId id="2147483686" r:id="rId31"/>
    <p:sldLayoutId id="2147483687" r:id="rId32"/>
    <p:sldLayoutId id="2147483688" r:id="rId33"/>
    <p:sldLayoutId id="2147483689" r:id="rId34"/>
    <p:sldLayoutId id="2147483690" r:id="rId3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80455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3" imgH="416" progId="TCLayout.ActiveDocument.1">
                  <p:embed/>
                </p:oleObj>
              </mc:Choice>
              <mc:Fallback>
                <p:oleObj name="think-cell Slide" r:id="rId4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s-PE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s-PE"/>
              <a:t>Click to edit Master title style</a:t>
            </a:r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8452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987739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ítulo</a:t>
            </a:r>
          </a:p>
          <a:p>
            <a:pPr lvl="0" rtl="0"/>
            <a:r>
              <a:rPr lang="es-PE" b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Unidad de medi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50004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s-PE"/>
              <a:t>Click to edit Master text styles</a:t>
            </a:r>
          </a:p>
          <a:p>
            <a:pPr lvl="1"/>
            <a:r>
              <a:rPr lang="es-PE"/>
              <a:t>Second level</a:t>
            </a:r>
          </a:p>
          <a:p>
            <a:pPr lvl="2"/>
            <a:r>
              <a:rPr lang="es-PE"/>
              <a:t>Third level</a:t>
            </a:r>
          </a:p>
          <a:p>
            <a:pPr lvl="3"/>
            <a:r>
              <a:rPr lang="es-PE"/>
              <a:t>Fourth level</a:t>
            </a:r>
          </a:p>
          <a:p>
            <a:pPr lvl="4"/>
            <a:r>
              <a:rPr lang="es-PE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33F634F0-FBC3-4178-85C8-3F7A952B3595}"/>
              </a:ext>
            </a:extLst>
          </p:cNvPr>
          <p:cNvGrpSpPr/>
          <p:nvPr userDrawn="1"/>
        </p:nvGrpSpPr>
        <p:grpSpPr>
          <a:xfrm>
            <a:off x="10304608" y="3150223"/>
            <a:ext cx="1332656" cy="958286"/>
            <a:chOff x="10162879" y="3243772"/>
            <a:chExt cx="133265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A3D806B2-BDAA-45B9-A6A0-277BB33BE6C8}"/>
                </a:ext>
              </a:extLst>
            </p:cNvPr>
            <p:cNvSpPr txBox="1"/>
            <p:nvPr/>
          </p:nvSpPr>
          <p:spPr>
            <a:xfrm>
              <a:off x="10886522" y="324377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29062F65-624B-4548-934F-DD638CBCA045}"/>
                </a:ext>
              </a:extLst>
            </p:cNvPr>
            <p:cNvSpPr txBox="1"/>
            <p:nvPr/>
          </p:nvSpPr>
          <p:spPr>
            <a:xfrm>
              <a:off x="10886522" y="3615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CEDC7BBB-C552-4CD4-9EC1-E488D9BC408F}"/>
                </a:ext>
              </a:extLst>
            </p:cNvPr>
            <p:cNvSpPr txBox="1"/>
            <p:nvPr/>
          </p:nvSpPr>
          <p:spPr>
            <a:xfrm>
              <a:off x="10886522" y="398661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25DB330-DBC2-4C11-BF6B-2E971089E8D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E6EF51A5-8689-4567-875E-253E6F81EFF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83DC1A92-308E-4A30-8E7D-81B4C2E297C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777F7DD3-71AE-4775-B56B-F58CFBFE828F}"/>
              </a:ext>
            </a:extLst>
          </p:cNvPr>
          <p:cNvGrpSpPr/>
          <p:nvPr userDrawn="1"/>
        </p:nvGrpSpPr>
        <p:grpSpPr>
          <a:xfrm>
            <a:off x="10675619" y="1145373"/>
            <a:ext cx="961645" cy="1731859"/>
            <a:chOff x="7723680" y="1702457"/>
            <a:chExt cx="96164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1D74EE6-FB4B-41FE-B8E1-5734A895FAD4}"/>
                </a:ext>
              </a:extLst>
            </p:cNvPr>
            <p:cNvSpPr txBox="1"/>
            <p:nvPr/>
          </p:nvSpPr>
          <p:spPr>
            <a:xfrm>
              <a:off x="8076312" y="1709816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57764541-93AC-446E-A352-BA4B59278493}"/>
                </a:ext>
              </a:extLst>
            </p:cNvPr>
            <p:cNvSpPr txBox="1"/>
            <p:nvPr/>
          </p:nvSpPr>
          <p:spPr>
            <a:xfrm>
              <a:off x="8076312" y="2085275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CFE1B418-9F3F-4EF4-BB23-E3188B31A039}"/>
                </a:ext>
              </a:extLst>
            </p:cNvPr>
            <p:cNvSpPr txBox="1"/>
            <p:nvPr/>
          </p:nvSpPr>
          <p:spPr>
            <a:xfrm>
              <a:off x="8076312" y="246073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6E2E4171-D238-4D02-BC76-7122CD4D2BFD}"/>
                </a:ext>
              </a:extLst>
            </p:cNvPr>
            <p:cNvSpPr txBox="1"/>
            <p:nvPr/>
          </p:nvSpPr>
          <p:spPr>
            <a:xfrm>
              <a:off x="8076312" y="2836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7FE741F6-758B-4D4B-A434-F4C76493D0F9}"/>
                </a:ext>
              </a:extLst>
            </p:cNvPr>
            <p:cNvSpPr txBox="1"/>
            <p:nvPr/>
          </p:nvSpPr>
          <p:spPr>
            <a:xfrm>
              <a:off x="8076312" y="321165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BD3DD577-0026-40AB-8575-2F3FEA416A9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28C903E2-F29D-47FC-BE7E-9DDDCAE202A3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B040017-DD09-460A-9CA4-0D304CA478C8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C131C737-AD47-4882-AB7C-A8C94E284A45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A9AD63EE-F881-4075-B7BF-DB871633E12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202367B-534B-4FED-BEAA-6D9F1106258C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82CC05BA-7026-4FE6-8818-CD3151410F24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043E0FC0-CBCE-4083-9EB2-30EEED81B3BB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78D573D5-1E9F-4BBC-88A1-DC64CA100E3E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DA00841-9012-481C-BBA6-2F658E58E1AE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4950EA66-913D-406C-BF68-B41A7EF2717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89770069-8DD0-4F97-A390-B8A7B499871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6D92039C-1AFC-42D3-8F76-D1AE6D12ED3D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25FBACB7-DFC6-4969-B304-BF1C6C5176D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CE91074-5B2F-4BFA-85D3-02560405A19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60B992-338F-4ED0-9073-5CB54AFF62ED}"/>
              </a:ext>
            </a:extLst>
          </p:cNvPr>
          <p:cNvGrpSpPr/>
          <p:nvPr userDrawn="1"/>
        </p:nvGrpSpPr>
        <p:grpSpPr>
          <a:xfrm>
            <a:off x="10702105" y="4381500"/>
            <a:ext cx="935159" cy="1717282"/>
            <a:chOff x="10652400" y="4322824"/>
            <a:chExt cx="93515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A1764FF-1E46-46ED-A808-9103803D85D5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36BF4EE6-59C8-4D56-86B0-82347CEF48C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FC5994BE-58AD-4DD8-8C70-0E38FF3AA226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C02B72CF-3066-4C39-AFB2-A7EC8AF8FA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E2C493FA-7FC9-4E19-97ED-F736D241646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689C56F5-C8BC-4875-9760-8C447AF4F092}"/>
                </a:ext>
              </a:extLst>
            </p:cNvPr>
            <p:cNvSpPr txBox="1"/>
            <p:nvPr/>
          </p:nvSpPr>
          <p:spPr>
            <a:xfrm>
              <a:off x="10978546" y="432282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34989B9F-83CF-4E4F-88DB-82DBEB461457}"/>
                </a:ext>
              </a:extLst>
            </p:cNvPr>
            <p:cNvSpPr txBox="1"/>
            <p:nvPr/>
          </p:nvSpPr>
          <p:spPr>
            <a:xfrm>
              <a:off x="10978546" y="470232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E7A195A4-70F8-4AE7-8870-C2A1FE6B1FC6}"/>
                </a:ext>
              </a:extLst>
            </p:cNvPr>
            <p:cNvSpPr txBox="1"/>
            <p:nvPr/>
          </p:nvSpPr>
          <p:spPr>
            <a:xfrm>
              <a:off x="10978546" y="5081820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B0363EAC-03D7-4DBE-8EEB-E5FAE24B1774}"/>
                </a:ext>
              </a:extLst>
            </p:cNvPr>
            <p:cNvSpPr txBox="1"/>
            <p:nvPr/>
          </p:nvSpPr>
          <p:spPr>
            <a:xfrm>
              <a:off x="10978546" y="5453241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D02A325-9E5B-4DEB-9EF5-059CD78F0699}"/>
                </a:ext>
              </a:extLst>
            </p:cNvPr>
            <p:cNvSpPr txBox="1"/>
            <p:nvPr/>
          </p:nvSpPr>
          <p:spPr>
            <a:xfrm>
              <a:off x="10978545" y="582466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</p:grpSp>
      <p:pic>
        <p:nvPicPr>
          <p:cNvPr id="156" name="Gráfico 24" descr="Gráfico 24">
            <a:extLst>
              <a:ext uri="{FF2B5EF4-FFF2-40B4-BE49-F238E27FC236}">
                <a16:creationId xmlns:a16="http://schemas.microsoft.com/office/drawing/2014/main" id="{6F9BFF23-7B29-4D4D-9324-E36609154EB6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  <p:sp>
        <p:nvSpPr>
          <p:cNvPr id="157" name="4. Footnote" hidden="1">
            <a:extLst>
              <a:ext uri="{FF2B5EF4-FFF2-40B4-BE49-F238E27FC236}">
                <a16:creationId xmlns:a16="http://schemas.microsoft.com/office/drawing/2014/main" id="{BA3CA7DB-0546-4AF6-BCE1-3DB17EB76074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3972" y="6097425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s-PE" err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ootnotes</a:t>
            </a:r>
            <a:endParaRPr lang="es-PE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3898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8" r:id="rId1"/>
    <p:sldLayoutId id="2147484279" r:id="rId2"/>
    <p:sldLayoutId id="2147484280" r:id="rId3"/>
    <p:sldLayoutId id="2147484281" r:id="rId4"/>
    <p:sldLayoutId id="2147484282" r:id="rId5"/>
    <p:sldLayoutId id="2147484283" r:id="rId6"/>
    <p:sldLayoutId id="2147484284" r:id="rId7"/>
    <p:sldLayoutId id="2147484285" r:id="rId8"/>
    <p:sldLayoutId id="2147484286" r:id="rId9"/>
    <p:sldLayoutId id="2147484287" r:id="rId10"/>
    <p:sldLayoutId id="2147484288" r:id="rId11"/>
    <p:sldLayoutId id="2147484289" r:id="rId12"/>
    <p:sldLayoutId id="2147484290" r:id="rId13"/>
    <p:sldLayoutId id="2147484291" r:id="rId14"/>
    <p:sldLayoutId id="2147485106" r:id="rId15"/>
    <p:sldLayoutId id="2147485147" r:id="rId16"/>
    <p:sldLayoutId id="2147485310" r:id="rId17"/>
    <p:sldLayoutId id="2147485200" r:id="rId18"/>
    <p:sldLayoutId id="2147485201" r:id="rId19"/>
    <p:sldLayoutId id="2147485202" r:id="rId20"/>
    <p:sldLayoutId id="2147485203" r:id="rId21"/>
    <p:sldLayoutId id="2147485204" r:id="rId22"/>
    <p:sldLayoutId id="2147485205" r:id="rId23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s-E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50.png"/><Relationship Id="rId4" Type="http://schemas.openxmlformats.org/officeDocument/2006/relationships/image" Target="../media/image5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CuadroTexto 101">
            <a:extLst>
              <a:ext uri="{FF2B5EF4-FFF2-40B4-BE49-F238E27FC236}">
                <a16:creationId xmlns:a16="http://schemas.microsoft.com/office/drawing/2014/main" id="{8354604C-C185-BC52-D899-5F8AA395BF4B}"/>
              </a:ext>
            </a:extLst>
          </p:cNvPr>
          <p:cNvSpPr txBox="1"/>
          <p:nvPr/>
        </p:nvSpPr>
        <p:spPr>
          <a:xfrm>
            <a:off x="4370767" y="5799822"/>
            <a:ext cx="1173491" cy="2923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Bugs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sp>
        <p:nvSpPr>
          <p:cNvPr id="103" name="CuadroTexto 102">
            <a:extLst>
              <a:ext uri="{FF2B5EF4-FFF2-40B4-BE49-F238E27FC236}">
                <a16:creationId xmlns:a16="http://schemas.microsoft.com/office/drawing/2014/main" id="{8861A679-1C48-FB7A-4F38-A11DCC709711}"/>
              </a:ext>
            </a:extLst>
          </p:cNvPr>
          <p:cNvSpPr txBox="1"/>
          <p:nvPr/>
        </p:nvSpPr>
        <p:spPr>
          <a:xfrm>
            <a:off x="5590923" y="5799670"/>
            <a:ext cx="1042384" cy="2923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4472C4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Releases</a:t>
            </a:r>
            <a:r>
              <a:rPr lang="es-PE" sz="1300" b="1">
                <a:solidFill>
                  <a:srgbClr val="FFFFFF"/>
                </a:solidFill>
                <a:latin typeface="Passion One" panose="02000506080000020004"/>
              </a:rPr>
              <a:t>*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graphicFrame>
        <p:nvGraphicFramePr>
          <p:cNvPr id="46" name="Tabla 45">
            <a:extLst>
              <a:ext uri="{FF2B5EF4-FFF2-40B4-BE49-F238E27FC236}">
                <a16:creationId xmlns:a16="http://schemas.microsoft.com/office/drawing/2014/main" id="{380A7353-0FD6-F005-ECCA-03B0B5A15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081751"/>
              </p:ext>
            </p:extLst>
          </p:nvPr>
        </p:nvGraphicFramePr>
        <p:xfrm>
          <a:off x="107256" y="1007241"/>
          <a:ext cx="8945798" cy="5910277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906475">
                  <a:extLst>
                    <a:ext uri="{9D8B030D-6E8A-4147-A177-3AD203B41FA5}">
                      <a16:colId xmlns:a16="http://schemas.microsoft.com/office/drawing/2014/main" val="3064209377"/>
                    </a:ext>
                  </a:extLst>
                </a:gridCol>
                <a:gridCol w="1352469">
                  <a:extLst>
                    <a:ext uri="{9D8B030D-6E8A-4147-A177-3AD203B41FA5}">
                      <a16:colId xmlns:a16="http://schemas.microsoft.com/office/drawing/2014/main" val="3571590421"/>
                    </a:ext>
                  </a:extLst>
                </a:gridCol>
                <a:gridCol w="1143482">
                  <a:extLst>
                    <a:ext uri="{9D8B030D-6E8A-4147-A177-3AD203B41FA5}">
                      <a16:colId xmlns:a16="http://schemas.microsoft.com/office/drawing/2014/main" val="3416381208"/>
                    </a:ext>
                  </a:extLst>
                </a:gridCol>
                <a:gridCol w="1210236">
                  <a:extLst>
                    <a:ext uri="{9D8B030D-6E8A-4147-A177-3AD203B41FA5}">
                      <a16:colId xmlns:a16="http://schemas.microsoft.com/office/drawing/2014/main" val="3461968550"/>
                    </a:ext>
                  </a:extLst>
                </a:gridCol>
                <a:gridCol w="1116106">
                  <a:extLst>
                    <a:ext uri="{9D8B030D-6E8A-4147-A177-3AD203B41FA5}">
                      <a16:colId xmlns:a16="http://schemas.microsoft.com/office/drawing/2014/main" val="3727708425"/>
                    </a:ext>
                  </a:extLst>
                </a:gridCol>
                <a:gridCol w="1169894">
                  <a:extLst>
                    <a:ext uri="{9D8B030D-6E8A-4147-A177-3AD203B41FA5}">
                      <a16:colId xmlns:a16="http://schemas.microsoft.com/office/drawing/2014/main" val="4167475316"/>
                    </a:ext>
                  </a:extLst>
                </a:gridCol>
                <a:gridCol w="2047136">
                  <a:extLst>
                    <a:ext uri="{9D8B030D-6E8A-4147-A177-3AD203B41FA5}">
                      <a16:colId xmlns:a16="http://schemas.microsoft.com/office/drawing/2014/main" val="1320025689"/>
                    </a:ext>
                  </a:extLst>
                </a:gridCol>
              </a:tblGrid>
              <a:tr h="56565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latin typeface="Inter"/>
                        </a:rPr>
                        <a:t>GPM'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Equipo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Cycle</a:t>
                      </a:r>
                      <a:r>
                        <a:rPr lang="es-ES" sz="1100">
                          <a:latin typeface="Inter"/>
                        </a:rPr>
                        <a:t> Time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Deudas </a:t>
                      </a:r>
                      <a:r>
                        <a:rPr lang="es-ES" sz="1100" noProof="1">
                          <a:latin typeface="Inter"/>
                        </a:rPr>
                        <a:t>Tecnicas</a:t>
                      </a:r>
                      <a:r>
                        <a:rPr lang="es-ES" sz="1100">
                          <a:latin typeface="Inter"/>
                        </a:rPr>
                        <a:t>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Bug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Despliegue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Work Breakdown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527683"/>
                  </a:ext>
                </a:extLst>
              </a:tr>
              <a:tr h="565651">
                <a:tc rowSpan="3">
                  <a:txBody>
                    <a:bodyPr/>
                    <a:lstStyle/>
                    <a:p>
                      <a:pPr algn="ctr"/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Retai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>
                          <a:solidFill>
                            <a:srgbClr val="FFFFFF"/>
                          </a:solidFill>
                          <a:latin typeface="Inter"/>
                        </a:rPr>
                        <a:t>Marketplace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1d 15h</a:t>
                      </a:r>
                      <a:br/>
                      <a:r>
                        <a:t> (⬇ + 3d 13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1 / 1</a:t>
                      </a:r>
                      <a:br/>
                      <a:r>
                        <a:t> (⬇ + 12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5 / 15</a:t>
                      </a:r>
                      <a:br/>
                      <a:r>
                        <a:t> (⬇ + 4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5 (55 - 15 - 5)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3.14% - 21.45% - 5.41%</a:t>
                      </a:r>
                      <a:br/>
                      <a:r>
                        <a:t> (⬆ - 2.3% / ⬇ + 2.69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060797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Prom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6d 17h</a:t>
                      </a:r>
                      <a:br/>
                      <a:r>
                        <a:t> (⬆ - 5d 13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 / 0</a:t>
                      </a:r>
                      <a:br/>
                      <a:r>
                        <a:t> (⬇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6 / 8</a:t>
                      </a:r>
                      <a:br/>
                      <a:r>
                        <a:t> (⬇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78 (130 - 30 - 18)</a:t>
                      </a:r>
                      <a:br/>
                      <a:r>
                        <a:t> (⬇ - 9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4.57% - 11.11% - 4.32%</a:t>
                      </a:r>
                      <a:br/>
                      <a:r>
                        <a:t> (⬇ + 3.18% / ⬆ - 1.35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970880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G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9d 5h</a:t>
                      </a:r>
                      <a:br/>
                      <a:r>
                        <a:t> (⬇ + 8d 12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4 (30 - 27 - 7)</a:t>
                      </a:r>
                      <a:br/>
                      <a:r>
                        <a:t> (⬆ + 7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8.95% - 14.75% - 6.3%</a:t>
                      </a:r>
                      <a:br/>
                      <a:r>
                        <a:t> (⬇ + 10.09% / ⬆ - 9.9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370604"/>
                  </a:ext>
                </a:extLst>
              </a:tr>
              <a:tr h="565651">
                <a:tc rowSpan="3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Financia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ipo Cambio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1d 5h</a:t>
                      </a:r>
                      <a:br/>
                      <a:r>
                        <a:t> (⬇ + 3d 19h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2 (6 - 13 - 3)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7.13% - 4.22% - 18.65%</a:t>
                      </a:r>
                      <a:br/>
                      <a:r>
                        <a:t> (⬇ + 1.28% / ⬆ - 3.64%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016782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9A71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Remes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4d 19h</a:t>
                      </a:r>
                      <a:br/>
                      <a:r>
                        <a:t> (⬇ + 2h 5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1 / 4</a:t>
                      </a:r>
                      <a:br/>
                      <a:r>
                        <a:t> (⬇ + 2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 / 5</a:t>
                      </a:r>
                      <a:br/>
                      <a:r>
                        <a:t> (⬆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6 (62 - 23 - 11)</a:t>
                      </a:r>
                      <a:br/>
                      <a:r>
                        <a:t> (⬆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6.15% - 7.41% - 6.45%</a:t>
                      </a:r>
                      <a:br/>
                      <a:r>
                        <a:t> (⬇ + 0.42% / ⬆ - 9.13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660438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  <a:solidFill>
                      <a:srgbClr val="9A71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Segur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🔴 15d 17h</a:t>
                      </a:r>
                      <a:br/>
                      <a:r>
                        <a:t> (⬇ + 7d 1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17</a:t>
                      </a:r>
                      <a:br/>
                      <a:r>
                        <a:t> (⬆ - 13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7 (17 - 8 - 2)</a:t>
                      </a:r>
                      <a:br/>
                      <a:r>
                        <a:t> (⬇ - 4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9.34% - 15.63% - 5.03%</a:t>
                      </a:r>
                      <a:br/>
                      <a:r>
                        <a:t> (⬆ - 2.01% / ⬇ + 2.81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9418814"/>
                  </a:ext>
                </a:extLst>
              </a:tr>
              <a:tr h="565651">
                <a:tc rowSpan="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Negoci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heckout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🟢 1d 13h</a:t>
                      </a:r>
                      <a:br/>
                      <a:r>
                        <a:t> (⬇ + 12h 19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7 (12 - 5 - 0)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1.02% - 3.51% - 15.47%</a:t>
                      </a:r>
                      <a:br/>
                      <a:r>
                        <a:t> (⬆ - 0.82% / ⬆ - 26.86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70477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ap2phone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5d 12h</a:t>
                      </a:r>
                      <a:br/>
                      <a:r>
                        <a:t> (⬆ - 2d 20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43 (31 - 10 - 2)</a:t>
                      </a:r>
                      <a:br/>
                      <a:r>
                        <a:t> (⬇ - 3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4.29% - 9.06% - 6.66%</a:t>
                      </a:r>
                      <a:br/>
                      <a:r>
                        <a:t> (⬆ - 0.51% / ⬇ + 3.59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140214"/>
                  </a:ext>
                </a:extLst>
              </a:tr>
              <a:tr h="56565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Product CX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rm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6d 14h</a:t>
                      </a:r>
                      <a:br/>
                      <a:r>
                        <a:t> (⬇ + 20h 9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 / 1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 / 0</a:t>
                      </a:r>
                      <a:br/>
                      <a:r>
                        <a:t> (⬇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9 (18 - 12 - 9)</a:t>
                      </a:r>
                      <a:br/>
                      <a:r>
                        <a:t> (⬆ + 2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8.09% - 9.59% - 22.32%</a:t>
                      </a:r>
                      <a:br/>
                      <a:r>
                        <a:t> (⬆ - 13.44% / ⬇ + 18.19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965957"/>
                  </a:ext>
                </a:extLst>
              </a:tr>
            </a:tbl>
          </a:graphicData>
        </a:graphic>
      </p:graphicFrame>
      <p:sp>
        <p:nvSpPr>
          <p:cNvPr id="118" name="Título 3">
            <a:extLst>
              <a:ext uri="{FF2B5EF4-FFF2-40B4-BE49-F238E27FC236}">
                <a16:creationId xmlns:a16="http://schemas.microsoft.com/office/drawing/2014/main" id="{AAB7676C-2A35-C67D-A58E-E6C24BDC7C14}"/>
              </a:ext>
            </a:extLst>
          </p:cNvPr>
          <p:cNvSpPr txBox="1">
            <a:spLocks/>
          </p:cNvSpPr>
          <p:nvPr/>
        </p:nvSpPr>
        <p:spPr>
          <a:xfrm>
            <a:off x="134548" y="-18843"/>
            <a:ext cx="8878814" cy="73866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algn="l">
              <a:defRPr/>
            </a:pPr>
            <a:r>
              <a:rPr lang="es-ES" sz="4800" dirty="0">
                <a:solidFill>
                  <a:srgbClr val="5B008D"/>
                </a:solidFill>
                <a:latin typeface="Passion One"/>
                <a:cs typeface="Calibri"/>
              </a:rPr>
              <a:t>Consolidado de Métricas</a:t>
            </a:r>
            <a:endParaRPr lang="es-ES" sz="4800" dirty="0">
              <a:solidFill>
                <a:srgbClr val="5B008D"/>
              </a:solidFill>
              <a:latin typeface="Passion One"/>
            </a:endParaRPr>
          </a:p>
        </p:txBody>
      </p:sp>
      <p:sp>
        <p:nvSpPr>
          <p:cNvPr id="9" name="Título 3">
            <a:extLst>
              <a:ext uri="{FF2B5EF4-FFF2-40B4-BE49-F238E27FC236}">
                <a16:creationId xmlns:a16="http://schemas.microsoft.com/office/drawing/2014/main" id="{06E9F97A-2EF5-49A3-564E-8DD469989A60}"/>
              </a:ext>
            </a:extLst>
          </p:cNvPr>
          <p:cNvSpPr txBox="1">
            <a:spLocks/>
          </p:cNvSpPr>
          <p:nvPr/>
        </p:nvSpPr>
        <p:spPr>
          <a:xfrm>
            <a:off x="125170" y="640817"/>
            <a:ext cx="8878814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algn="l">
              <a:defRPr/>
            </a:pPr>
            <a:r>
              <a:rPr lang="es-ES" sz="1800" dirty="0">
                <a:solidFill>
                  <a:srgbClr val="00C3A2"/>
                </a:solidFill>
                <a:latin typeface="Passion One"/>
                <a:cs typeface="Calibri"/>
              </a:rPr>
              <a:t>Noviembre - 2023</a:t>
            </a:r>
            <a:endParaRPr lang="es-ES" dirty="0">
              <a:solidFill>
                <a:srgbClr val="00C3A2"/>
              </a:solidFill>
              <a:ea typeface="Calibri"/>
            </a:endParaRPr>
          </a:p>
        </p:txBody>
      </p:sp>
      <p:sp>
        <p:nvSpPr>
          <p:cNvPr id="55" name="Rectángulo: esquinas redondeadas 54">
            <a:extLst>
              <a:ext uri="{FF2B5EF4-FFF2-40B4-BE49-F238E27FC236}">
                <a16:creationId xmlns:a16="http://schemas.microsoft.com/office/drawing/2014/main" id="{7908B767-2C20-FE60-09EA-03CFA2A5B21B}"/>
              </a:ext>
            </a:extLst>
          </p:cNvPr>
          <p:cNvSpPr/>
          <p:nvPr/>
        </p:nvSpPr>
        <p:spPr>
          <a:xfrm>
            <a:off x="9132933" y="1061470"/>
            <a:ext cx="2978704" cy="5597023"/>
          </a:xfrm>
          <a:prstGeom prst="roundRect">
            <a:avLst>
              <a:gd name="adj" fmla="val 5093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1016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1" name="Grupo 60">
            <a:extLst>
              <a:ext uri="{FF2B5EF4-FFF2-40B4-BE49-F238E27FC236}">
                <a16:creationId xmlns:a16="http://schemas.microsoft.com/office/drawing/2014/main" id="{9374B2BA-05A9-287E-BC0D-90770A590D82}"/>
              </a:ext>
            </a:extLst>
          </p:cNvPr>
          <p:cNvGrpSpPr/>
          <p:nvPr/>
        </p:nvGrpSpPr>
        <p:grpSpPr>
          <a:xfrm>
            <a:off x="9218190" y="1153004"/>
            <a:ext cx="2890523" cy="1305015"/>
            <a:chOff x="9182538" y="1615975"/>
            <a:chExt cx="2899281" cy="1226188"/>
          </a:xfrm>
        </p:grpSpPr>
        <p:pic>
          <p:nvPicPr>
            <p:cNvPr id="57" name="Imagen 56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CA479006-9C1B-0A29-F009-3DADFC7C1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8" y="1615975"/>
              <a:ext cx="2839545" cy="1226188"/>
            </a:xfrm>
            <a:prstGeom prst="rect">
              <a:avLst/>
            </a:prstGeom>
          </p:spPr>
        </p:pic>
        <p:sp>
          <p:nvSpPr>
            <p:cNvPr id="58" name="TextBox 43">
              <a:extLst>
                <a:ext uri="{FF2B5EF4-FFF2-40B4-BE49-F238E27FC236}">
                  <a16:creationId xmlns:a16="http://schemas.microsoft.com/office/drawing/2014/main" id="{79BDE3BB-761B-FE9B-89BE-94DEBF47F489}"/>
                </a:ext>
              </a:extLst>
            </p:cNvPr>
            <p:cNvSpPr txBox="1"/>
            <p:nvPr/>
          </p:nvSpPr>
          <p:spPr>
            <a:xfrm>
              <a:off x="9233516" y="1887985"/>
              <a:ext cx="2848303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419" sz="1000" noProof="1">
                  <a:solidFill>
                    <a:srgbClr val="69217A"/>
                  </a:solidFill>
                  <a:latin typeface="Flexo"/>
                  <a:ea typeface="+mn-lt"/>
                  <a:cs typeface="+mn-lt"/>
                </a:rPr>
                <a:t>LinearB publica puntos de referencia de la industria para estas métricas de ingeniería y muchas otras, asignando los valores de las métricas en cuatro badges:</a:t>
              </a:r>
              <a:endParaRPr lang="es-419" noProof="1">
                <a:latin typeface="Flexo"/>
                <a:ea typeface="+mn-lt"/>
                <a:cs typeface="+mn-lt"/>
              </a:endParaRPr>
            </a:p>
          </p:txBody>
        </p:sp>
        <p:pic>
          <p:nvPicPr>
            <p:cNvPr id="59" name="Picture 44">
              <a:extLst>
                <a:ext uri="{FF2B5EF4-FFF2-40B4-BE49-F238E27FC236}">
                  <a16:creationId xmlns:a16="http://schemas.microsoft.com/office/drawing/2014/main" id="{39C9DD94-E078-A9EE-73C1-E14F8EE3C8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25740" y="2565432"/>
              <a:ext cx="2743200" cy="197427"/>
            </a:xfrm>
            <a:prstGeom prst="rect">
              <a:avLst/>
            </a:prstGeom>
          </p:spPr>
        </p:pic>
        <p:sp>
          <p:nvSpPr>
            <p:cNvPr id="60" name="CuadroTexto 59">
              <a:extLst>
                <a:ext uri="{FF2B5EF4-FFF2-40B4-BE49-F238E27FC236}">
                  <a16:creationId xmlns:a16="http://schemas.microsoft.com/office/drawing/2014/main" id="{D64653EE-8617-507B-6BB4-0A67270ACAE1}"/>
                </a:ext>
              </a:extLst>
            </p:cNvPr>
            <p:cNvSpPr txBox="1"/>
            <p:nvPr/>
          </p:nvSpPr>
          <p:spPr>
            <a:xfrm>
              <a:off x="9221951" y="1658882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Cycle time</a:t>
              </a:r>
              <a:endParaRPr lang="es-ES" sz="1000" b="1" noProof="1">
                <a:solidFill>
                  <a:srgbClr val="69217A"/>
                </a:solidFill>
                <a:latin typeface="Inter"/>
              </a:endParaRPr>
            </a:p>
          </p:txBody>
        </p:sp>
      </p:grpSp>
      <p:grpSp>
        <p:nvGrpSpPr>
          <p:cNvPr id="68" name="Grupo 67">
            <a:extLst>
              <a:ext uri="{FF2B5EF4-FFF2-40B4-BE49-F238E27FC236}">
                <a16:creationId xmlns:a16="http://schemas.microsoft.com/office/drawing/2014/main" id="{835E9646-7142-4E88-8532-CAD12A57351B}"/>
              </a:ext>
            </a:extLst>
          </p:cNvPr>
          <p:cNvGrpSpPr/>
          <p:nvPr/>
        </p:nvGrpSpPr>
        <p:grpSpPr>
          <a:xfrm>
            <a:off x="9218190" y="2527221"/>
            <a:ext cx="2813270" cy="846843"/>
            <a:chOff x="9191296" y="2911364"/>
            <a:chExt cx="2813270" cy="846843"/>
          </a:xfrm>
        </p:grpSpPr>
        <p:pic>
          <p:nvPicPr>
            <p:cNvPr id="63" name="Imagen 62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0460513A-C8B2-7522-D9EC-0BC781045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91296" y="2912250"/>
              <a:ext cx="2813270" cy="656879"/>
            </a:xfrm>
            <a:prstGeom prst="rect">
              <a:avLst/>
            </a:prstGeom>
          </p:spPr>
        </p:pic>
        <p:sp>
          <p:nvSpPr>
            <p:cNvPr id="64" name="CuadroTexto 63">
              <a:extLst>
                <a:ext uri="{FF2B5EF4-FFF2-40B4-BE49-F238E27FC236}">
                  <a16:creationId xmlns:a16="http://schemas.microsoft.com/office/drawing/2014/main" id="{A8A25CB2-0B22-40BE-AD50-FCC96B6A8255}"/>
                </a:ext>
              </a:extLst>
            </p:cNvPr>
            <p:cNvSpPr txBox="1"/>
            <p:nvPr/>
          </p:nvSpPr>
          <p:spPr>
            <a:xfrm>
              <a:off x="9221950" y="2911364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udas Tecnicas y Bug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65" name="TextBox 43">
              <a:extLst>
                <a:ext uri="{FF2B5EF4-FFF2-40B4-BE49-F238E27FC236}">
                  <a16:creationId xmlns:a16="http://schemas.microsoft.com/office/drawing/2014/main" id="{FFD39C26-73C8-392A-964E-F81A09BA5B09}"/>
                </a:ext>
              </a:extLst>
            </p:cNvPr>
            <p:cNvSpPr txBox="1"/>
            <p:nvPr/>
          </p:nvSpPr>
          <p:spPr>
            <a:xfrm>
              <a:off x="9237019" y="3050321"/>
              <a:ext cx="2743200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recogieron las deudas tecnicas y bugs total creados y solucionados durante el período indicado.</a:t>
              </a:r>
            </a:p>
            <a:p>
              <a:endParaRPr lang="en-US" sz="1000" noProof="1">
                <a:solidFill>
                  <a:srgbClr val="69217A"/>
                </a:solidFill>
                <a:latin typeface="Flexo"/>
                <a:cs typeface="Calibri"/>
              </a:endParaRPr>
            </a:p>
          </p:txBody>
        </p:sp>
      </p:grpSp>
      <p:pic>
        <p:nvPicPr>
          <p:cNvPr id="70" name="Imagen 69" descr="Imagen que contiene Forma&#10;&#10;Descripción generada automáticamente">
            <a:extLst>
              <a:ext uri="{FF2B5EF4-FFF2-40B4-BE49-F238E27FC236}">
                <a16:creationId xmlns:a16="http://schemas.microsoft.com/office/drawing/2014/main" id="{EBD28AFA-90D0-A194-35B5-91CA435E83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18189" y="3990796"/>
            <a:ext cx="2804512" cy="2557499"/>
          </a:xfrm>
          <a:prstGeom prst="rect">
            <a:avLst/>
          </a:prstGeom>
        </p:spPr>
      </p:pic>
      <p:sp>
        <p:nvSpPr>
          <p:cNvPr id="72" name="CuadroTexto 71">
            <a:extLst>
              <a:ext uri="{FF2B5EF4-FFF2-40B4-BE49-F238E27FC236}">
                <a16:creationId xmlns:a16="http://schemas.microsoft.com/office/drawing/2014/main" id="{FD15140A-1428-5DF4-06AB-ADEC19F67C4D}"/>
              </a:ext>
            </a:extLst>
          </p:cNvPr>
          <p:cNvSpPr txBox="1"/>
          <p:nvPr/>
        </p:nvSpPr>
        <p:spPr>
          <a:xfrm>
            <a:off x="9266360" y="3989912"/>
            <a:ext cx="2462925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000" b="1" noProof="1">
                <a:solidFill>
                  <a:srgbClr val="69217A"/>
                </a:solidFill>
                <a:latin typeface="Inter"/>
                <a:cs typeface="Calibri"/>
              </a:rPr>
              <a:t>Work Breakdown</a:t>
            </a:r>
            <a:endParaRPr lang="es-ES" sz="1000" b="1" noProof="1">
              <a:latin typeface="Inter"/>
            </a:endParaRPr>
          </a:p>
        </p:txBody>
      </p:sp>
      <p:sp>
        <p:nvSpPr>
          <p:cNvPr id="74" name="TextBox 43">
            <a:extLst>
              <a:ext uri="{FF2B5EF4-FFF2-40B4-BE49-F238E27FC236}">
                <a16:creationId xmlns:a16="http://schemas.microsoft.com/office/drawing/2014/main" id="{8C0EE96B-C5EB-FDD0-53A8-776CFA0344FB}"/>
              </a:ext>
            </a:extLst>
          </p:cNvPr>
          <p:cNvSpPr txBox="1"/>
          <p:nvPr/>
        </p:nvSpPr>
        <p:spPr>
          <a:xfrm>
            <a:off x="9281429" y="4257554"/>
            <a:ext cx="2751958" cy="2246769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Así podemos entender el porcentaje de esfuerzo del equipo durante el periodo que se divide en 3: código nuevo, refactor, retrabajo.</a:t>
            </a: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Codigo nuev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trabajo nuevo es un código completamente nuevo que se ha agregado a la base del código.</a:t>
            </a:r>
            <a:endParaRPr lang="es-E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factor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 trabajo refactorizado representa cambios en el código heredado. </a:t>
            </a:r>
            <a:endParaRPr lang="en-US">
              <a:solidFill>
                <a:srgbClr val="000000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trabaj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código reelaborado es un código relativamente nuevo que se modifica en una rama.</a:t>
            </a:r>
            <a:endParaRPr lang="en-US">
              <a:ea typeface="Calibri"/>
              <a:cs typeface="Calibri"/>
            </a:endParaRPr>
          </a:p>
        </p:txBody>
      </p:sp>
      <p:grpSp>
        <p:nvGrpSpPr>
          <p:cNvPr id="79" name="Grupo 78">
            <a:extLst>
              <a:ext uri="{FF2B5EF4-FFF2-40B4-BE49-F238E27FC236}">
                <a16:creationId xmlns:a16="http://schemas.microsoft.com/office/drawing/2014/main" id="{2048E06B-82AC-403B-B8DF-959D5C66AC52}"/>
              </a:ext>
            </a:extLst>
          </p:cNvPr>
          <p:cNvGrpSpPr/>
          <p:nvPr/>
        </p:nvGrpSpPr>
        <p:grpSpPr>
          <a:xfrm>
            <a:off x="9218188" y="3271702"/>
            <a:ext cx="2804512" cy="622731"/>
            <a:chOff x="9182536" y="3647087"/>
            <a:chExt cx="2839545" cy="622731"/>
          </a:xfrm>
        </p:grpSpPr>
        <p:pic>
          <p:nvPicPr>
            <p:cNvPr id="76" name="Imagen 75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48527201-46C4-A3BA-883F-AE777B6656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6" y="3647973"/>
              <a:ext cx="2839545" cy="621845"/>
            </a:xfrm>
            <a:prstGeom prst="rect">
              <a:avLst/>
            </a:prstGeom>
          </p:spPr>
        </p:pic>
        <p:sp>
          <p:nvSpPr>
            <p:cNvPr id="77" name="CuadroTexto 76">
              <a:extLst>
                <a:ext uri="{FF2B5EF4-FFF2-40B4-BE49-F238E27FC236}">
                  <a16:creationId xmlns:a16="http://schemas.microsoft.com/office/drawing/2014/main" id="{E357D044-814A-AD6F-3A52-1EB2915878F8}"/>
                </a:ext>
              </a:extLst>
            </p:cNvPr>
            <p:cNvSpPr txBox="1"/>
            <p:nvPr/>
          </p:nvSpPr>
          <p:spPr>
            <a:xfrm>
              <a:off x="9230707" y="3647087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spliegue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78" name="TextBox 43">
              <a:extLst>
                <a:ext uri="{FF2B5EF4-FFF2-40B4-BE49-F238E27FC236}">
                  <a16:creationId xmlns:a16="http://schemas.microsoft.com/office/drawing/2014/main" id="{F7CE7BC3-3DC8-DB59-CF06-AE0973B288ED}"/>
                </a:ext>
              </a:extLst>
            </p:cNvPr>
            <p:cNvSpPr txBox="1"/>
            <p:nvPr/>
          </p:nvSpPr>
          <p:spPr>
            <a:xfrm>
              <a:off x="9245776" y="3862178"/>
              <a:ext cx="2743200" cy="400110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están informando todos los despliegues para cada entorno: </a:t>
              </a:r>
              <a:r>
                <a:rPr lang="en-US" sz="1000" noProof="1">
                  <a:solidFill>
                    <a:srgbClr val="69217A"/>
                  </a:solidFill>
                  <a:highlight>
                    <a:srgbClr val="2AA686"/>
                  </a:highlight>
                  <a:ea typeface="+mn-lt"/>
                  <a:cs typeface="+mn-lt"/>
                </a:rPr>
                <a:t>qa, staging y producción.</a:t>
              </a:r>
              <a:endParaRPr lang="en-US" noProof="1">
                <a:highlight>
                  <a:srgbClr val="2AA686"/>
                </a:highlight>
                <a:ea typeface="Calibri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0658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IzhTNJUh_xcGdj3.tZA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White_ES_LI1148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69217A"/>
      </a:accent1>
      <a:accent2>
        <a:srgbClr val="9638A4"/>
      </a:accent2>
      <a:accent3>
        <a:srgbClr val="CD384F"/>
      </a:accent3>
      <a:accent4>
        <a:srgbClr val="F34A5A"/>
      </a:accent4>
      <a:accent5>
        <a:srgbClr val="00C3A2"/>
      </a:accent5>
      <a:accent6>
        <a:srgbClr val="17D2BA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69217A"/>
        </a:accent1>
        <a:accent2>
          <a:srgbClr val="9638A4"/>
        </a:accent2>
        <a:accent3>
          <a:srgbClr val="CD384F"/>
        </a:accent3>
        <a:accent4>
          <a:srgbClr val="F34A5A"/>
        </a:accent4>
        <a:accent5>
          <a:srgbClr val="00C3A2"/>
        </a:accent5>
        <a:accent6>
          <a:srgbClr val="17D2BA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FFC200"/>
    </a:custClr>
    <a:custClr name="Custom Color7">
      <a:srgbClr val="EFCC4A"/>
    </a:custClr>
  </a:custClrLst>
  <a:extLst>
    <a:ext uri="{05A4C25C-085E-4340-85A3-A5531E510DB2}">
      <thm15:themeFamily xmlns:thm15="http://schemas.microsoft.com/office/thememl/2012/main" name="Yape Template.potx" id="{F64C817F-4792-4167-BB25-C79A7A059F67}" vid="{FB490CA6-49B9-4BA4-81FF-2E2941024307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8E5B9C5EC3CF4148BC4031F6B405F470" ma:contentTypeVersion="9" ma:contentTypeDescription="Crear nuevo documento." ma:contentTypeScope="" ma:versionID="67c3714abe415bbea9d9520c0cf94218">
  <xsd:schema xmlns:xsd="http://www.w3.org/2001/XMLSchema" xmlns:xs="http://www.w3.org/2001/XMLSchema" xmlns:p="http://schemas.microsoft.com/office/2006/metadata/properties" xmlns:ns2="843b6cfd-4659-48b0-a018-e4b3997e42c7" targetNamespace="http://schemas.microsoft.com/office/2006/metadata/properties" ma:root="true" ma:fieldsID="e7c6c58c12af278f6c46d163fef319dc" ns2:_="">
    <xsd:import namespace="843b6cfd-4659-48b0-a018-e4b3997e42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3b6cfd-4659-48b0-a018-e4b3997e42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Etiquetas de imagen" ma:readOnly="false" ma:fieldId="{5cf76f15-5ced-4ddc-b409-7134ff3c332f}" ma:taxonomyMulti="true" ma:sspId="99a4d325-e744-4b40-a3b6-bd808253bd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43b6cfd-4659-48b0-a018-e4b3997e42c7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B800C36-19B5-49C5-A4B9-24BE22F41600}">
  <ds:schemaRefs>
    <ds:schemaRef ds:uri="843b6cfd-4659-48b0-a018-e4b3997e42c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7CF3346-A603-4D84-870F-9B3274B2E2C0}">
  <ds:schemaRefs>
    <ds:schemaRef ds:uri="843b6cfd-4659-48b0-a018-e4b3997e42c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DEAD12E-B3C8-45EB-A3E7-12EE093AE31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498</Words>
  <Application>Microsoft Macintosh PowerPoint</Application>
  <PresentationFormat>Widescreen</PresentationFormat>
  <Paragraphs>8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4" baseType="lpstr">
      <vt:lpstr>Arial</vt:lpstr>
      <vt:lpstr>Calibri</vt:lpstr>
      <vt:lpstr>Calibri Light</vt:lpstr>
      <vt:lpstr>Flexo</vt:lpstr>
      <vt:lpstr>Inter</vt:lpstr>
      <vt:lpstr>Passion One</vt:lpstr>
      <vt:lpstr>Segoe UI</vt:lpstr>
      <vt:lpstr>Symbol</vt:lpstr>
      <vt:lpstr>Wingdings</vt:lpstr>
      <vt:lpstr>1_Tema de Office</vt:lpstr>
      <vt:lpstr>7_White_ES_LI1148_16x9_OF_v1</vt:lpstr>
      <vt:lpstr>think-cell Slide</vt:lpstr>
      <vt:lpstr>Diapositiva de think-cell</vt:lpstr>
      <vt:lpstr>PowerPoint Presentation</vt:lpstr>
    </vt:vector>
  </TitlesOfParts>
  <Company>Banco de Credito del Per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ck Métricas Yape    Octubre 2023  </dc:title>
  <dc:creator>Valery Lozada Isasi</dc:creator>
  <cp:lastModifiedBy>Alexandro Frisone Gomes</cp:lastModifiedBy>
  <cp:revision>6</cp:revision>
  <dcterms:created xsi:type="dcterms:W3CDTF">2023-10-30T14:38:48Z</dcterms:created>
  <dcterms:modified xsi:type="dcterms:W3CDTF">2023-12-04T18:42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15ead3b-a842-409e-8059-3e3468c48585_Enabled">
    <vt:lpwstr>true</vt:lpwstr>
  </property>
  <property fmtid="{D5CDD505-2E9C-101B-9397-08002B2CF9AE}" pid="3" name="MSIP_Label_c15ead3b-a842-409e-8059-3e3468c48585_SetDate">
    <vt:lpwstr>2023-10-30T16:54:58Z</vt:lpwstr>
  </property>
  <property fmtid="{D5CDD505-2E9C-101B-9397-08002B2CF9AE}" pid="4" name="MSIP_Label_c15ead3b-a842-409e-8059-3e3468c48585_Method">
    <vt:lpwstr>Standard</vt:lpwstr>
  </property>
  <property fmtid="{D5CDD505-2E9C-101B-9397-08002B2CF9AE}" pid="5" name="MSIP_Label_c15ead3b-a842-409e-8059-3e3468c48585_Name">
    <vt:lpwstr>Interna BCP</vt:lpwstr>
  </property>
  <property fmtid="{D5CDD505-2E9C-101B-9397-08002B2CF9AE}" pid="6" name="MSIP_Label_c15ead3b-a842-409e-8059-3e3468c48585_SiteId">
    <vt:lpwstr>5d93ebcc-f769-4380-8b7e-289fc972da1b</vt:lpwstr>
  </property>
  <property fmtid="{D5CDD505-2E9C-101B-9397-08002B2CF9AE}" pid="7" name="MSIP_Label_c15ead3b-a842-409e-8059-3e3468c48585_ActionId">
    <vt:lpwstr>6c4931bf-7f1c-4a6e-9eee-144d3615473e</vt:lpwstr>
  </property>
  <property fmtid="{D5CDD505-2E9C-101B-9397-08002B2CF9AE}" pid="8" name="MSIP_Label_c15ead3b-a842-409e-8059-3e3468c48585_ContentBits">
    <vt:lpwstr>2</vt:lpwstr>
  </property>
  <property fmtid="{D5CDD505-2E9C-101B-9397-08002B2CF9AE}" pid="9" name="ClassificationContentMarkingFooterLocations">
    <vt:lpwstr>1_Tema de Office:8</vt:lpwstr>
  </property>
  <property fmtid="{D5CDD505-2E9C-101B-9397-08002B2CF9AE}" pid="10" name="ClassificationContentMarkingFooterText">
    <vt:lpwstr>Datos elaborados por BCP para uso Interno</vt:lpwstr>
  </property>
  <property fmtid="{D5CDD505-2E9C-101B-9397-08002B2CF9AE}" pid="11" name="ContentTypeId">
    <vt:lpwstr>0x0101008E5B9C5EC3CF4148BC4031F6B405F470</vt:lpwstr>
  </property>
  <property fmtid="{D5CDD505-2E9C-101B-9397-08002B2CF9AE}" pid="12" name="MediaServiceImageTags">
    <vt:lpwstr/>
  </property>
  <property fmtid="{D5CDD505-2E9C-101B-9397-08002B2CF9AE}" pid="13" name="_SourceUrl">
    <vt:lpwstr/>
  </property>
  <property fmtid="{D5CDD505-2E9C-101B-9397-08002B2CF9AE}" pid="14" name="_SharedFileIndex">
    <vt:lpwstr/>
  </property>
  <property fmtid="{D5CDD505-2E9C-101B-9397-08002B2CF9AE}" pid="15" name="ComplianceAssetId">
    <vt:lpwstr/>
  </property>
  <property fmtid="{D5CDD505-2E9C-101B-9397-08002B2CF9AE}" pid="16" name="_ExtendedDescription">
    <vt:lpwstr/>
  </property>
  <property fmtid="{D5CDD505-2E9C-101B-9397-08002B2CF9AE}" pid="17" name="_activity">
    <vt:lpwstr>{"FileActivityType":"9","FileActivityTimeStamp":"2023-11-13T19:11:54.750Z","FileActivityUsersOnPage":[{"DisplayName":"Alexandro Frisone Gomes","Id":"alexandrofrisone@yape.com.pe"},{"DisplayName":"Valery Lozada Isasi","Id":"glozada@yape.com.pe"}],"FileActivityNavigationId":null}</vt:lpwstr>
  </property>
  <property fmtid="{D5CDD505-2E9C-101B-9397-08002B2CF9AE}" pid="18" name="TriggerFlowInfo">
    <vt:lpwstr/>
  </property>
  <property fmtid="{D5CDD505-2E9C-101B-9397-08002B2CF9AE}" pid="19" name="SharedWithUsers">
    <vt:lpwstr>42;#Thiago Miranda Ferreira;#39;#Valery Lozada Isasi</vt:lpwstr>
  </property>
</Properties>
</file>